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9E394A6C-2D2E-48FF-9AF7-4CFDDB3077F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166808830995274</c:v>
                </c:pt>
                <c:pt idx="7">
                  <c:v>0.006844037767983205</c:v>
                </c:pt>
                <c:pt idx="8">
                  <c:v>0.006728726848673578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792775661721352</c:v>
                </c:pt>
                <c:pt idx="7">
                  <c:v>0.00093576432877699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993840783874646</c:v>
                </c:pt>
                <c:pt idx="1">
                  <c:v>0.0022967811921920335</c:v>
                </c:pt>
                <c:pt idx="2">
                  <c:v>0.006369955438663196</c:v>
                </c:pt>
                <c:pt idx="3">
                  <c:v>0.027237438571611386</c:v>
                </c:pt>
                <c:pt idx="4">
                  <c:v>0.00884168477412695</c:v>
                </c:pt>
                <c:pt idx="5">
                  <c:v>0.016161198992686077</c:v>
                </c:pt>
                <c:pt idx="6">
                  <c:v>0.006117775914195026</c:v>
                </c:pt>
                <c:pt idx="7">
                  <c:v>0.02957166791635546</c:v>
                </c:pt>
                <c:pt idx="8">
                  <c:v>0.020049502326519072</c:v>
                </c:pt>
                <c:pt idx="9">
                  <c:v>0.0118686180060096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967811921920335</c:v>
                </c:pt>
                <c:pt idx="2">
                  <c:v>0.00409545396728098</c:v>
                </c:pt>
                <c:pt idx="5">
                  <c:v>0.004936258708084256</c:v>
                </c:pt>
                <c:pt idx="6">
                  <c:v>0.0037682998961419702</c:v>
                </c:pt>
                <c:pt idx="7">
                  <c:v>0.005871817463634889</c:v>
                </c:pt>
                <c:pt idx="8">
                  <c:v>0.007416452042369783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299451342140796</c:v>
                </c:pt>
                <c:pt idx="2">
                  <c:v>0.0009724922524635518</c:v>
                </c:pt>
                <c:pt idx="3">
                  <c:v>0.012502626808467532</c:v>
                </c:pt>
                <c:pt idx="4">
                  <c:v>0.004200534130138958</c:v>
                </c:pt>
                <c:pt idx="5">
                  <c:v>0.015656323549409133</c:v>
                </c:pt>
                <c:pt idx="6">
                  <c:v>0.021293637127857312</c:v>
                </c:pt>
                <c:pt idx="7">
                  <c:v>0.02217890046559418</c:v>
                </c:pt>
                <c:pt idx="8">
                  <c:v>0.05436669861432116</c:v>
                </c:pt>
                <c:pt idx="9">
                  <c:v>0.017901952143956026</c:v>
                </c:pt>
                <c:pt idx="10">
                  <c:v>0.0153334988449640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199517238405412</c:v>
                </c:pt>
                <c:pt idx="8">
                  <c:v>0.000807004383963659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2124099272434</c:v>
                </c:pt>
                <c:pt idx="1">
                  <c:v>0.0008362684686327742</c:v>
                </c:pt>
                <c:pt idx="2">
                  <c:v>0.0043918990928180695</c:v>
                </c:pt>
                <c:pt idx="3">
                  <c:v>0.01967634047542466</c:v>
                </c:pt>
                <c:pt idx="4">
                  <c:v>0.005136885733566076</c:v>
                </c:pt>
                <c:pt idx="5">
                  <c:v>0.017419778925949394</c:v>
                </c:pt>
                <c:pt idx="6">
                  <c:v>0.02625021777888094</c:v>
                </c:pt>
                <c:pt idx="7">
                  <c:v>0.04468331714552989</c:v>
                </c:pt>
                <c:pt idx="8">
                  <c:v>0.03169748780777748</c:v>
                </c:pt>
                <c:pt idx="9">
                  <c:v>0.028486431304894578</c:v>
                </c:pt>
                <c:pt idx="10">
                  <c:v>0.03400988253929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89908104879941</c:v>
                </c:pt>
                <c:pt idx="1">
                  <c:v>0.002008579250388309</c:v>
                </c:pt>
                <c:pt idx="2">
                  <c:v>0.0020752428039679262</c:v>
                </c:pt>
                <c:pt idx="3">
                  <c:v>0.003601168954740152</c:v>
                </c:pt>
                <c:pt idx="4">
                  <c:v>0.018552841999117445</c:v>
                </c:pt>
                <c:pt idx="5">
                  <c:v>0.04488114486162324</c:v>
                </c:pt>
                <c:pt idx="6">
                  <c:v>0.03704399834700259</c:v>
                </c:pt>
                <c:pt idx="7">
                  <c:v>0.04849967301197485</c:v>
                </c:pt>
                <c:pt idx="8">
                  <c:v>0.05804760789649848</c:v>
                </c:pt>
                <c:pt idx="9">
                  <c:v>0.03693966234837956</c:v>
                </c:pt>
                <c:pt idx="10">
                  <c:v>0.019246117919044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3439118742491</c:v>
                </c:pt>
                <c:pt idx="1">
                  <c:v>0.0031579304790539703</c:v>
                </c:pt>
                <c:pt idx="2">
                  <c:v>0.000547371046235642</c:v>
                </c:pt>
                <c:pt idx="3">
                  <c:v>0.001404493500461748</c:v>
                </c:pt>
                <c:pt idx="4">
                  <c:v>0.003369608691165039</c:v>
                </c:pt>
                <c:pt idx="5">
                  <c:v>0.008602999311872375</c:v>
                </c:pt>
                <c:pt idx="6">
                  <c:v>0.006620460593602736</c:v>
                </c:pt>
                <c:pt idx="7">
                  <c:v>0.007442928988560817</c:v>
                </c:pt>
                <c:pt idx="8">
                  <c:v>0.003552474880992708</c:v>
                </c:pt>
                <c:pt idx="9">
                  <c:v>0.001044724866894881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1878756038065</c:v>
                </c:pt>
                <c:pt idx="1">
                  <c:v>0.000842033832871001</c:v>
                </c:pt>
                <c:pt idx="2">
                  <c:v>0.004755836495232329</c:v>
                </c:pt>
                <c:pt idx="3">
                  <c:v>0.011328902506807341</c:v>
                </c:pt>
                <c:pt idx="4">
                  <c:v>0.015442587930980025</c:v>
                </c:pt>
                <c:pt idx="5">
                  <c:v>0.017245781241410553</c:v>
                </c:pt>
                <c:pt idx="6">
                  <c:v>0.01015692785210263</c:v>
                </c:pt>
                <c:pt idx="7">
                  <c:v>0.03164255054084473</c:v>
                </c:pt>
                <c:pt idx="8">
                  <c:v>0.020453491142978047</c:v>
                </c:pt>
                <c:pt idx="9">
                  <c:v>0.0061974814491364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0862612550026</c:v>
                </c:pt>
                <c:pt idx="4">
                  <c:v>0.0016753006961716</c:v>
                </c:pt>
                <c:pt idx="5">
                  <c:v>0.0075117272869787656</c:v>
                </c:pt>
                <c:pt idx="6">
                  <c:v>0.002829009610894508</c:v>
                </c:pt>
                <c:pt idx="7">
                  <c:v>0.007196062099894999</c:v>
                </c:pt>
                <c:pt idx="8">
                  <c:v>0.00300411790730012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534623104078</c:v>
                </c:pt>
                <c:pt idx="3">
                  <c:v>0.008263530008582853</c:v>
                </c:pt>
                <c:pt idx="4">
                  <c:v>0.0032243336507426193</c:v>
                </c:pt>
                <c:pt idx="5">
                  <c:v>0.008273409207316952</c:v>
                </c:pt>
                <c:pt idx="6">
                  <c:v>0.02247394483863785</c:v>
                </c:pt>
                <c:pt idx="7">
                  <c:v>0.01991633828898329</c:v>
                </c:pt>
                <c:pt idx="8">
                  <c:v>0.047121162714024764</c:v>
                </c:pt>
                <c:pt idx="9">
                  <c:v>0.021605708526408526</c:v>
                </c:pt>
                <c:pt idx="10">
                  <c:v>0.017049570097176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5985709770676</c:v>
                </c:pt>
                <c:pt idx="1">
                  <c:v>0.0029668742222705756</c:v>
                </c:pt>
                <c:pt idx="2">
                  <c:v>0.003973933311704718</c:v>
                </c:pt>
                <c:pt idx="3">
                  <c:v>0.01080701363538965</c:v>
                </c:pt>
                <c:pt idx="4">
                  <c:v>0.014429665425266133</c:v>
                </c:pt>
                <c:pt idx="5">
                  <c:v>0.01623768717971898</c:v>
                </c:pt>
                <c:pt idx="6">
                  <c:v>0.025210792591325137</c:v>
                </c:pt>
                <c:pt idx="7">
                  <c:v>0.04990618003515041</c:v>
                </c:pt>
                <c:pt idx="8">
                  <c:v>0.04340411920188261</c:v>
                </c:pt>
                <c:pt idx="9">
                  <c:v>0.012144030214328243</c:v>
                </c:pt>
                <c:pt idx="10">
                  <c:v>0.0580137702443949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501567610087</c:v>
                </c:pt>
                <c:pt idx="1">
                  <c:v>0.004987129933030644</c:v>
                </c:pt>
                <c:pt idx="2">
                  <c:v>0.0029156907335326143</c:v>
                </c:pt>
                <c:pt idx="3">
                  <c:v>0.0035243341554351847</c:v>
                </c:pt>
                <c:pt idx="4">
                  <c:v>0.0061182600101096045</c:v>
                </c:pt>
                <c:pt idx="5">
                  <c:v>0.04105155721147653</c:v>
                </c:pt>
                <c:pt idx="6">
                  <c:v>0.03571587114602242</c:v>
                </c:pt>
                <c:pt idx="7">
                  <c:v>0.03961185696931795</c:v>
                </c:pt>
                <c:pt idx="8">
                  <c:v>0.07404065621177394</c:v>
                </c:pt>
                <c:pt idx="9">
                  <c:v>0.04960763997879673</c:v>
                </c:pt>
                <c:pt idx="10">
                  <c:v>0.0057525924865224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2651128122654</c:v>
                </c:pt>
                <c:pt idx="1">
                  <c:v>0.0012721592935076747</c:v>
                </c:pt>
                <c:pt idx="2">
                  <c:v>0.001725150095533987</c:v>
                </c:pt>
                <c:pt idx="3">
                  <c:v>0.0015754298150083763</c:v>
                </c:pt>
                <c:pt idx="4">
                  <c:v>0.0027370572247655068</c:v>
                </c:pt>
                <c:pt idx="5">
                  <c:v>0.008057401600258697</c:v>
                </c:pt>
                <c:pt idx="6">
                  <c:v>0.013332251793706083</c:v>
                </c:pt>
                <c:pt idx="7">
                  <c:v>0.004343932853012672</c:v>
                </c:pt>
                <c:pt idx="8">
                  <c:v>0.0017572002244564944</c:v>
                </c:pt>
                <c:pt idx="9">
                  <c:v>0.00085492740238229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1878756038065</c:v>
                </c:pt>
                <c:pt idx="1">
                  <c:v>0.000842033832871001</c:v>
                </c:pt>
                <c:pt idx="2">
                  <c:v>0.004755836495232329</c:v>
                </c:pt>
                <c:pt idx="3">
                  <c:v>0.011328902506807341</c:v>
                </c:pt>
                <c:pt idx="4">
                  <c:v>0.015442587930980025</c:v>
                </c:pt>
                <c:pt idx="5">
                  <c:v>0.017245781241410553</c:v>
                </c:pt>
                <c:pt idx="6">
                  <c:v>0.01015692785210263</c:v>
                </c:pt>
                <c:pt idx="7">
                  <c:v>0.03164255054084473</c:v>
                </c:pt>
                <c:pt idx="8">
                  <c:v>0.020453491142978047</c:v>
                </c:pt>
                <c:pt idx="9">
                  <c:v>0.0061974814491364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398904869524</c:v>
                </c:pt>
                <c:pt idx="3">
                  <c:v>0.0010914792650602583</c:v>
                </c:pt>
                <c:pt idx="4">
                  <c:v>0.0007475657546542414</c:v>
                </c:pt>
                <c:pt idx="5">
                  <c:v>0.0029901051262225236</c:v>
                </c:pt>
                <c:pt idx="6">
                  <c:v>0.0019101752055522643</c:v>
                </c:pt>
                <c:pt idx="7">
                  <c:v>0.006261543416386495</c:v>
                </c:pt>
                <c:pt idx="8">
                  <c:v>0.007048252520057046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534623104078</c:v>
                </c:pt>
                <c:pt idx="3">
                  <c:v>0.008263530008582853</c:v>
                </c:pt>
                <c:pt idx="4">
                  <c:v>0.0032243336507426193</c:v>
                </c:pt>
                <c:pt idx="5">
                  <c:v>0.008273409207316952</c:v>
                </c:pt>
                <c:pt idx="6">
                  <c:v>0.02247394483863785</c:v>
                </c:pt>
                <c:pt idx="7">
                  <c:v>0.01991633828898329</c:v>
                </c:pt>
                <c:pt idx="8">
                  <c:v>0.047121162714024764</c:v>
                </c:pt>
                <c:pt idx="9">
                  <c:v>0.021605708526408526</c:v>
                </c:pt>
                <c:pt idx="10">
                  <c:v>0.017049570097176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5779165289991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5985709770676</c:v>
                </c:pt>
                <c:pt idx="1">
                  <c:v>0.0029668742222705756</c:v>
                </c:pt>
                <c:pt idx="2">
                  <c:v>0.003973933311704718</c:v>
                </c:pt>
                <c:pt idx="3">
                  <c:v>0.01080701363538965</c:v>
                </c:pt>
                <c:pt idx="4">
                  <c:v>0.014429665425266133</c:v>
                </c:pt>
                <c:pt idx="5">
                  <c:v>0.01623768717971898</c:v>
                </c:pt>
                <c:pt idx="6">
                  <c:v>0.025210792591325137</c:v>
                </c:pt>
                <c:pt idx="7">
                  <c:v>0.04990618003515041</c:v>
                </c:pt>
                <c:pt idx="8">
                  <c:v>0.04340411920188261</c:v>
                </c:pt>
                <c:pt idx="9">
                  <c:v>0.012144030214328243</c:v>
                </c:pt>
                <c:pt idx="10">
                  <c:v>0.0580137702443949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501567610087</c:v>
                </c:pt>
                <c:pt idx="1">
                  <c:v>0.004987129933030644</c:v>
                </c:pt>
                <c:pt idx="2">
                  <c:v>0.0029156907335326143</c:v>
                </c:pt>
                <c:pt idx="3">
                  <c:v>0.0035243341554351847</c:v>
                </c:pt>
                <c:pt idx="4">
                  <c:v>0.0061182600101096045</c:v>
                </c:pt>
                <c:pt idx="5">
                  <c:v>0.04105155721147653</c:v>
                </c:pt>
                <c:pt idx="6">
                  <c:v>0.03571587114602242</c:v>
                </c:pt>
                <c:pt idx="7">
                  <c:v>0.03961185696931795</c:v>
                </c:pt>
                <c:pt idx="8">
                  <c:v>0.07404065621177394</c:v>
                </c:pt>
                <c:pt idx="9">
                  <c:v>0.04960763997879673</c:v>
                </c:pt>
                <c:pt idx="10">
                  <c:v>0.0057525924865224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993840783874646</c:v>
                </c:pt>
                <c:pt idx="1">
                  <c:v>0.0022967811921920335</c:v>
                </c:pt>
                <c:pt idx="2">
                  <c:v>0.006369955438663196</c:v>
                </c:pt>
                <c:pt idx="3">
                  <c:v>0.027237438571611386</c:v>
                </c:pt>
                <c:pt idx="4">
                  <c:v>0.00884168477412695</c:v>
                </c:pt>
                <c:pt idx="5">
                  <c:v>0.016161198992686077</c:v>
                </c:pt>
                <c:pt idx="6">
                  <c:v>0.006117775914195026</c:v>
                </c:pt>
                <c:pt idx="7">
                  <c:v>0.02957166791635546</c:v>
                </c:pt>
                <c:pt idx="8">
                  <c:v>0.020049502326519072</c:v>
                </c:pt>
                <c:pt idx="9">
                  <c:v>0.0118686180060096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23406996788968</c:v>
                </c:pt>
                <c:pt idx="2">
                  <c:v>0.0020940103477810343</c:v>
                </c:pt>
                <c:pt idx="3">
                  <c:v>0.010536030244100283</c:v>
                </c:pt>
                <c:pt idx="4">
                  <c:v>0.006114333285257657</c:v>
                </c:pt>
                <c:pt idx="5">
                  <c:v>0.004637012534457217</c:v>
                </c:pt>
                <c:pt idx="6">
                  <c:v>0.0013917748991098035</c:v>
                </c:pt>
                <c:pt idx="7">
                  <c:v>0.0120573575294486</c:v>
                </c:pt>
                <c:pt idx="8">
                  <c:v>0.001866892466496313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299451342140796</c:v>
                </c:pt>
                <c:pt idx="2">
                  <c:v>0.0009724922524635518</c:v>
                </c:pt>
                <c:pt idx="3">
                  <c:v>0.012502626808467532</c:v>
                </c:pt>
                <c:pt idx="4">
                  <c:v>0.004200534130138958</c:v>
                </c:pt>
                <c:pt idx="5">
                  <c:v>0.015656323549409133</c:v>
                </c:pt>
                <c:pt idx="6">
                  <c:v>0.021293637127857312</c:v>
                </c:pt>
                <c:pt idx="7">
                  <c:v>0.02217890046559418</c:v>
                </c:pt>
                <c:pt idx="8">
                  <c:v>0.05436669861432116</c:v>
                </c:pt>
                <c:pt idx="9">
                  <c:v>0.017901952143956026</c:v>
                </c:pt>
                <c:pt idx="10">
                  <c:v>0.0153334988449640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2651128122654</c:v>
                </c:pt>
                <c:pt idx="1">
                  <c:v>0.0012721592935076747</c:v>
                </c:pt>
                <c:pt idx="2">
                  <c:v>0.001725150095533987</c:v>
                </c:pt>
                <c:pt idx="3">
                  <c:v>0.0015754298150083763</c:v>
                </c:pt>
                <c:pt idx="4">
                  <c:v>0.0027370572247655068</c:v>
                </c:pt>
                <c:pt idx="5">
                  <c:v>0.008057401600258697</c:v>
                </c:pt>
                <c:pt idx="6">
                  <c:v>0.013332251793706083</c:v>
                </c:pt>
                <c:pt idx="7">
                  <c:v>0.004343932853012672</c:v>
                </c:pt>
                <c:pt idx="8">
                  <c:v>0.0017572002244564944</c:v>
                </c:pt>
                <c:pt idx="9">
                  <c:v>0.00085492740238229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2124099272434</c:v>
                </c:pt>
                <c:pt idx="1">
                  <c:v>0.0008362684686327742</c:v>
                </c:pt>
                <c:pt idx="2">
                  <c:v>0.0043918990928180695</c:v>
                </c:pt>
                <c:pt idx="3">
                  <c:v>0.01967634047542466</c:v>
                </c:pt>
                <c:pt idx="4">
                  <c:v>0.005136885733566076</c:v>
                </c:pt>
                <c:pt idx="5">
                  <c:v>0.017419778925949394</c:v>
                </c:pt>
                <c:pt idx="6">
                  <c:v>0.02625021777888094</c:v>
                </c:pt>
                <c:pt idx="7">
                  <c:v>0.04468331714552989</c:v>
                </c:pt>
                <c:pt idx="8">
                  <c:v>0.03169748780777748</c:v>
                </c:pt>
                <c:pt idx="9">
                  <c:v>0.028486431304894578</c:v>
                </c:pt>
                <c:pt idx="10">
                  <c:v>0.03400988253929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89908104879941</c:v>
                </c:pt>
                <c:pt idx="1">
                  <c:v>0.002008579250388309</c:v>
                </c:pt>
                <c:pt idx="2">
                  <c:v>0.0020752428039679262</c:v>
                </c:pt>
                <c:pt idx="3">
                  <c:v>0.003601168954740152</c:v>
                </c:pt>
                <c:pt idx="4">
                  <c:v>0.018552841999117445</c:v>
                </c:pt>
                <c:pt idx="5">
                  <c:v>0.04488114486162324</c:v>
                </c:pt>
                <c:pt idx="6">
                  <c:v>0.03704399834700259</c:v>
                </c:pt>
                <c:pt idx="7">
                  <c:v>0.04849967301197485</c:v>
                </c:pt>
                <c:pt idx="8">
                  <c:v>0.05804760789649848</c:v>
                </c:pt>
                <c:pt idx="9">
                  <c:v>0.03693966234837956</c:v>
                </c:pt>
                <c:pt idx="10">
                  <c:v>0.019246117919044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3439118742491</c:v>
                </c:pt>
                <c:pt idx="1">
                  <c:v>0.0031579304790539703</c:v>
                </c:pt>
                <c:pt idx="2">
                  <c:v>0.000547371046235642</c:v>
                </c:pt>
                <c:pt idx="3">
                  <c:v>0.001404493500461748</c:v>
                </c:pt>
                <c:pt idx="4">
                  <c:v>0.003369608691165039</c:v>
                </c:pt>
                <c:pt idx="5">
                  <c:v>0.008602999311872375</c:v>
                </c:pt>
                <c:pt idx="6">
                  <c:v>0.006620460593602736</c:v>
                </c:pt>
                <c:pt idx="7">
                  <c:v>0.007442928988560817</c:v>
                </c:pt>
                <c:pt idx="8">
                  <c:v>0.003552474880992708</c:v>
                </c:pt>
                <c:pt idx="9">
                  <c:v>0.001044724866894881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1878756038065</c:v>
                </c:pt>
                <c:pt idx="1">
                  <c:v>0.000842033832871001</c:v>
                </c:pt>
                <c:pt idx="2">
                  <c:v>0.004755836495232329</c:v>
                </c:pt>
                <c:pt idx="3">
                  <c:v>0.011328902506807341</c:v>
                </c:pt>
                <c:pt idx="4">
                  <c:v>0.015442587930980025</c:v>
                </c:pt>
                <c:pt idx="5">
                  <c:v>0.017245781241410553</c:v>
                </c:pt>
                <c:pt idx="6">
                  <c:v>0.01015692785210263</c:v>
                </c:pt>
                <c:pt idx="7">
                  <c:v>0.03164255054084473</c:v>
                </c:pt>
                <c:pt idx="8">
                  <c:v>0.020453491142978047</c:v>
                </c:pt>
                <c:pt idx="9">
                  <c:v>0.0061974814491364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534623104078</c:v>
                </c:pt>
                <c:pt idx="3">
                  <c:v>0.008263530008582853</c:v>
                </c:pt>
                <c:pt idx="4">
                  <c:v>0.0032243336507426193</c:v>
                </c:pt>
                <c:pt idx="5">
                  <c:v>0.008273409207316952</c:v>
                </c:pt>
                <c:pt idx="6">
                  <c:v>0.02247394483863785</c:v>
                </c:pt>
                <c:pt idx="7">
                  <c:v>0.01991633828898329</c:v>
                </c:pt>
                <c:pt idx="8">
                  <c:v>0.047121162714024764</c:v>
                </c:pt>
                <c:pt idx="9">
                  <c:v>0.021605708526408526</c:v>
                </c:pt>
                <c:pt idx="10">
                  <c:v>0.017049570097176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85707944666272</c:v>
                </c:pt>
                <c:pt idx="6">
                  <c:v>0.0017245101921208505</c:v>
                </c:pt>
                <c:pt idx="7">
                  <c:v>0.0034450550552771577</c:v>
                </c:pt>
                <c:pt idx="8">
                  <c:v>0.008023593257311924</c:v>
                </c:pt>
                <c:pt idx="9">
                  <c:v>0.001091774553118907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5985709770676</c:v>
                </c:pt>
                <c:pt idx="1">
                  <c:v>0.0029668742222705756</c:v>
                </c:pt>
                <c:pt idx="2">
                  <c:v>0.003973933311704718</c:v>
                </c:pt>
                <c:pt idx="3">
                  <c:v>0.01080701363538965</c:v>
                </c:pt>
                <c:pt idx="4">
                  <c:v>0.014429665425266133</c:v>
                </c:pt>
                <c:pt idx="5">
                  <c:v>0.01623768717971898</c:v>
                </c:pt>
                <c:pt idx="6">
                  <c:v>0.025210792591325137</c:v>
                </c:pt>
                <c:pt idx="7">
                  <c:v>0.04990618003515041</c:v>
                </c:pt>
                <c:pt idx="8">
                  <c:v>0.04340411920188261</c:v>
                </c:pt>
                <c:pt idx="9">
                  <c:v>0.012144030214328243</c:v>
                </c:pt>
                <c:pt idx="10">
                  <c:v>0.0580137702443949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539561093213072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501567610087</c:v>
                </c:pt>
                <c:pt idx="1">
                  <c:v>0.004987129933030644</c:v>
                </c:pt>
                <c:pt idx="2">
                  <c:v>0.0029156907335326143</c:v>
                </c:pt>
                <c:pt idx="3">
                  <c:v>0.0035243341554351847</c:v>
                </c:pt>
                <c:pt idx="4">
                  <c:v>0.0061182600101096045</c:v>
                </c:pt>
                <c:pt idx="5">
                  <c:v>0.04105155721147653</c:v>
                </c:pt>
                <c:pt idx="6">
                  <c:v>0.03571587114602242</c:v>
                </c:pt>
                <c:pt idx="7">
                  <c:v>0.03961185696931795</c:v>
                </c:pt>
                <c:pt idx="8">
                  <c:v>0.07404065621177394</c:v>
                </c:pt>
                <c:pt idx="9">
                  <c:v>0.04960763997879673</c:v>
                </c:pt>
                <c:pt idx="10">
                  <c:v>0.0057525924865224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8</c:v>
                </c:pt>
                <c:pt idx="1">
                  <c:v>0.016253200051163173</c:v>
                </c:pt>
                <c:pt idx="2">
                  <c:v>0.02127098588498281</c:v>
                </c:pt>
                <c:pt idx="3">
                  <c:v>0.039448936569282715</c:v>
                </c:pt>
                <c:pt idx="4">
                  <c:v>0.051569641955082</c:v>
                </c:pt>
                <c:pt idx="5">
                  <c:v>0.10247762175383172</c:v>
                </c:pt>
                <c:pt idx="6">
                  <c:v>0.1307431312465251</c:v>
                </c:pt>
                <c:pt idx="7">
                  <c:v>0.1778504929039384</c:v>
                </c:pt>
                <c:pt idx="8">
                  <c:v>0.2563771164258904</c:v>
                </c:pt>
                <c:pt idx="9">
                  <c:v>0.10345857949612595</c:v>
                </c:pt>
                <c:pt idx="10">
                  <c:v>0.081762044777557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2651128122654</c:v>
                </c:pt>
                <c:pt idx="1">
                  <c:v>0.0012721592935076747</c:v>
                </c:pt>
                <c:pt idx="2">
                  <c:v>0.001725150095533987</c:v>
                </c:pt>
                <c:pt idx="3">
                  <c:v>0.0015754298150083763</c:v>
                </c:pt>
                <c:pt idx="4">
                  <c:v>0.0027370572247655068</c:v>
                </c:pt>
                <c:pt idx="5">
                  <c:v>0.008057401600258697</c:v>
                </c:pt>
                <c:pt idx="6">
                  <c:v>0.013332251793706083</c:v>
                </c:pt>
                <c:pt idx="7">
                  <c:v>0.004343932853012672</c:v>
                </c:pt>
                <c:pt idx="8">
                  <c:v>0.0017572002244564944</c:v>
                </c:pt>
                <c:pt idx="9">
                  <c:v>0.00085492740238229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87347510574614</c:v>
                </c:pt>
                <c:pt idx="1">
                  <c:v>0.003958566620237691</c:v>
                </c:pt>
                <c:pt idx="2">
                  <c:v>0.00754647284854647</c:v>
                </c:pt>
                <c:pt idx="3">
                  <c:v>0.00394972644805931</c:v>
                </c:pt>
                <c:pt idx="4">
                  <c:v>0.00958032464861564</c:v>
                </c:pt>
                <c:pt idx="5">
                  <c:v>0.011611785313650013</c:v>
                </c:pt>
                <c:pt idx="6">
                  <c:v>0.023853343024730963</c:v>
                </c:pt>
                <c:pt idx="7">
                  <c:v>0.032429634216629345</c:v>
                </c:pt>
                <c:pt idx="8">
                  <c:v>0.06960048693077453</c:v>
                </c:pt>
                <c:pt idx="9">
                  <c:v>0.01304879192507374</c:v>
                </c:pt>
                <c:pt idx="10">
                  <c:v>0.00051590112332377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6228801064574831</c:v>
                </c:pt>
                <c:pt idx="8">
                  <c:v>0.0053013553829690235</c:v>
                </c:pt>
                <c:pt idx="9">
                  <c:v>0.0013335077625645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457498854960345</c:v>
                </c:pt>
                <c:pt idx="8">
                  <c:v>0.0032901415603720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3</c:v>
                </c:pt>
                <c:pt idx="1">
                  <c:v>0.0028111852108087237</c:v>
                </c:pt>
                <c:pt idx="2">
                  <c:v>0.011733795016715528</c:v>
                </c:pt>
                <c:pt idx="3">
                  <c:v>0.007574852123027206</c:v>
                </c:pt>
                <c:pt idx="4">
                  <c:v>0.019009215663064603</c:v>
                </c:pt>
                <c:pt idx="5">
                  <c:v>0.011686734111054543</c:v>
                </c:pt>
                <c:pt idx="6">
                  <c:v>0.044282416000018386</c:v>
                </c:pt>
                <c:pt idx="7">
                  <c:v>0.13481352044305056</c:v>
                </c:pt>
                <c:pt idx="8">
                  <c:v>0.11237839726299749</c:v>
                </c:pt>
                <c:pt idx="9">
                  <c:v>0.48396240184152367</c:v>
                </c:pt>
                <c:pt idx="10">
                  <c:v>0.165340418709899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993840783874646</c:v>
                </c:pt>
                <c:pt idx="1">
                  <c:v>0.0022967811921920335</c:v>
                </c:pt>
                <c:pt idx="2">
                  <c:v>0.006369955438663196</c:v>
                </c:pt>
                <c:pt idx="3">
                  <c:v>0.027237438571611386</c:v>
                </c:pt>
                <c:pt idx="4">
                  <c:v>0.00884168477412695</c:v>
                </c:pt>
                <c:pt idx="5">
                  <c:v>0.016161198992686077</c:v>
                </c:pt>
                <c:pt idx="6">
                  <c:v>0.006117775914195026</c:v>
                </c:pt>
                <c:pt idx="7">
                  <c:v>0.02957166791635546</c:v>
                </c:pt>
                <c:pt idx="8">
                  <c:v>0.020049502326519072</c:v>
                </c:pt>
                <c:pt idx="9">
                  <c:v>0.0118686180060096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299451342140796</c:v>
                </c:pt>
                <c:pt idx="2">
                  <c:v>0.0009724922524635518</c:v>
                </c:pt>
                <c:pt idx="3">
                  <c:v>0.012502626808467532</c:v>
                </c:pt>
                <c:pt idx="4">
                  <c:v>0.004200534130138958</c:v>
                </c:pt>
                <c:pt idx="5">
                  <c:v>0.015656323549409133</c:v>
                </c:pt>
                <c:pt idx="6">
                  <c:v>0.021293637127857312</c:v>
                </c:pt>
                <c:pt idx="7">
                  <c:v>0.02217890046559418</c:v>
                </c:pt>
                <c:pt idx="8">
                  <c:v>0.05436669861432116</c:v>
                </c:pt>
                <c:pt idx="9">
                  <c:v>0.017901952143956026</c:v>
                </c:pt>
                <c:pt idx="10">
                  <c:v>0.0153334988449640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30253190040382</c:v>
                </c:pt>
                <c:pt idx="6">
                  <c:v>0.002851482603882193</c:v>
                </c:pt>
                <c:pt idx="7">
                  <c:v>0.002694639559158359</c:v>
                </c:pt>
                <c:pt idx="8">
                  <c:v>0.013623256427326936</c:v>
                </c:pt>
                <c:pt idx="9">
                  <c:v>0.001883302331097769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2124099272434</c:v>
                </c:pt>
                <c:pt idx="1">
                  <c:v>0.0008362684686327742</c:v>
                </c:pt>
                <c:pt idx="2">
                  <c:v>0.0043918990928180695</c:v>
                </c:pt>
                <c:pt idx="3">
                  <c:v>0.01967634047542466</c:v>
                </c:pt>
                <c:pt idx="4">
                  <c:v>0.005136885733566076</c:v>
                </c:pt>
                <c:pt idx="5">
                  <c:v>0.017419778925949394</c:v>
                </c:pt>
                <c:pt idx="6">
                  <c:v>0.02625021777888094</c:v>
                </c:pt>
                <c:pt idx="7">
                  <c:v>0.04468331714552989</c:v>
                </c:pt>
                <c:pt idx="8">
                  <c:v>0.03169748780777748</c:v>
                </c:pt>
                <c:pt idx="9">
                  <c:v>0.028486431304894578</c:v>
                </c:pt>
                <c:pt idx="10">
                  <c:v>0.03400988253929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738950366465850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89908104879941</c:v>
                </c:pt>
                <c:pt idx="1">
                  <c:v>0.002008579250388309</c:v>
                </c:pt>
                <c:pt idx="2">
                  <c:v>0.0020752428039679262</c:v>
                </c:pt>
                <c:pt idx="3">
                  <c:v>0.003601168954740152</c:v>
                </c:pt>
                <c:pt idx="4">
                  <c:v>0.018552841999117445</c:v>
                </c:pt>
                <c:pt idx="5">
                  <c:v>0.04488114486162324</c:v>
                </c:pt>
                <c:pt idx="6">
                  <c:v>0.03704399834700259</c:v>
                </c:pt>
                <c:pt idx="7">
                  <c:v>0.04849967301197485</c:v>
                </c:pt>
                <c:pt idx="8">
                  <c:v>0.05804760789649848</c:v>
                </c:pt>
                <c:pt idx="9">
                  <c:v>0.03693966234837956</c:v>
                </c:pt>
                <c:pt idx="10">
                  <c:v>0.019246117919044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7</c:v>
                </c:pt>
                <c:pt idx="2">
                  <c:v>0.017191212706328902</c:v>
                </c:pt>
                <c:pt idx="3">
                  <c:v>0.06657881274671337</c:v>
                </c:pt>
                <c:pt idx="4">
                  <c:v>0.04927328215654456</c:v>
                </c:pt>
                <c:pt idx="5">
                  <c:v>0.11854085069659606</c:v>
                </c:pt>
                <c:pt idx="6">
                  <c:v>0.132112620695593</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3439118742491</c:v>
                </c:pt>
                <c:pt idx="1">
                  <c:v>0.0031579304790539703</c:v>
                </c:pt>
                <c:pt idx="2">
                  <c:v>0.000547371046235642</c:v>
                </c:pt>
                <c:pt idx="3">
                  <c:v>0.001404493500461748</c:v>
                </c:pt>
                <c:pt idx="4">
                  <c:v>0.003369608691165039</c:v>
                </c:pt>
                <c:pt idx="5">
                  <c:v>0.008602999311872375</c:v>
                </c:pt>
                <c:pt idx="6">
                  <c:v>0.006620460593602736</c:v>
                </c:pt>
                <c:pt idx="7">
                  <c:v>0.007442928988560817</c:v>
                </c:pt>
                <c:pt idx="8">
                  <c:v>0.003552474880992708</c:v>
                </c:pt>
                <c:pt idx="9">
                  <c:v>0.001044724866894881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3</c:v>
                </c:pt>
                <c:pt idx="3">
                  <c:v>0.003145368144401667</c:v>
                </c:pt>
                <c:pt idx="4">
                  <c:v>0.015735665051344716</c:v>
                </c:pt>
                <c:pt idx="5">
                  <c:v>0.014067589267378132</c:v>
                </c:pt>
                <c:pt idx="6">
                  <c:v>0.034514891105569906</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312933723758</c:v>
                </c:pt>
                <c:pt idx="1">
                  <c:v>0.0015651877689715774</c:v>
                </c:pt>
                <c:pt idx="2">
                  <c:v>0.0027985374050075442</c:v>
                </c:pt>
                <c:pt idx="3">
                  <c:v>0.002130667391158074</c:v>
                </c:pt>
                <c:pt idx="4">
                  <c:v>0.008961074450194293</c:v>
                </c:pt>
                <c:pt idx="5">
                  <c:v>0.01575917991306969</c:v>
                </c:pt>
                <c:pt idx="6">
                  <c:v>0.03478653093405441</c:v>
                </c:pt>
                <c:pt idx="7">
                  <c:v>0.027396206358877476</c:v>
                </c:pt>
                <c:pt idx="8">
                  <c:v>0.0631643281702587</c:v>
                </c:pt>
                <c:pt idx="9">
                  <c:v>0.0136394437381385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4</c:v>
                </c:pt>
                <c:pt idx="4">
                  <c:v>0.008443658709353704</c:v>
                </c:pt>
                <c:pt idx="5">
                  <c:v>0.010672400633581458</c:v>
                </c:pt>
                <c:pt idx="6">
                  <c:v>0.07699987236678672</c:v>
                </c:pt>
                <c:pt idx="7">
                  <c:v>0.1788707601930403</c:v>
                </c:pt>
                <c:pt idx="8">
                  <c:v>0.22096490143235029</c:v>
                </c:pt>
                <c:pt idx="9">
                  <c:v>0.24223439627367618</c:v>
                </c:pt>
                <c:pt idx="10">
                  <c:v>0.205573354713075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17627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95743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51417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06165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6174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22954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459163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525619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31638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99220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137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6508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03771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99943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5305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9439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21269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3354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25623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74178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24388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248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503195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780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98372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76523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81156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9035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98664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27135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781384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826349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7212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641386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9365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65250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2813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48806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27847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67191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243602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69867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64933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7631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3475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33796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2281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20062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04888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37027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94810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25482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9365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4234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